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notesMasterIdLst>
    <p:notesMasterId r:id="rId21"/>
  </p:notesMasterIdLst>
  <p:sldIdLst>
    <p:sldId id="274" r:id="rId4"/>
    <p:sldId id="256" r:id="rId5"/>
    <p:sldId id="257" r:id="rId6"/>
    <p:sldId id="258" r:id="rId7"/>
    <p:sldId id="263" r:id="rId8"/>
    <p:sldId id="265" r:id="rId9"/>
    <p:sldId id="266" r:id="rId10"/>
    <p:sldId id="267" r:id="rId11"/>
    <p:sldId id="264" r:id="rId12"/>
    <p:sldId id="268" r:id="rId13"/>
    <p:sldId id="259" r:id="rId14"/>
    <p:sldId id="260" r:id="rId15"/>
    <p:sldId id="269" r:id="rId16"/>
    <p:sldId id="270" r:id="rId17"/>
    <p:sldId id="271" r:id="rId18"/>
    <p:sldId id="273" r:id="rId19"/>
    <p:sldId id="27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otlin" id="{0DBF243F-932D-45D1-8B62-D9D4CE7C0FEC}">
          <p14:sldIdLst>
            <p14:sldId id="274"/>
            <p14:sldId id="256"/>
            <p14:sldId id="257"/>
            <p14:sldId id="258"/>
            <p14:sldId id="263"/>
            <p14:sldId id="265"/>
            <p14:sldId id="266"/>
            <p14:sldId id="267"/>
            <p14:sldId id="264"/>
            <p14:sldId id="268"/>
            <p14:sldId id="259"/>
            <p14:sldId id="260"/>
            <p14:sldId id="269"/>
            <p14:sldId id="270"/>
            <p14:sldId id="271"/>
            <p14:sldId id="273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04" autoAdjust="0"/>
    <p:restoredTop sz="96224" autoAdjust="0"/>
  </p:normalViewPr>
  <p:slideViewPr>
    <p:cSldViewPr snapToGrid="0">
      <p:cViewPr varScale="1">
        <p:scale>
          <a:sx n="106" d="100"/>
          <a:sy n="106" d="100"/>
        </p:scale>
        <p:origin x="426" y="120"/>
      </p:cViewPr>
      <p:guideLst/>
    </p:cSldViewPr>
  </p:slideViewPr>
  <p:outlineViewPr>
    <p:cViewPr>
      <p:scale>
        <a:sx n="33" d="100"/>
        <a:sy n="33" d="100"/>
      </p:scale>
      <p:origin x="0" y="-18972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F5AC1-8765-4F21-B6DB-896070DDF1F1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945CAB-A405-4F33-B353-146DCCD961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963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D51130-60FE-46F5-B262-2363C79CB6A0}" type="slidenum">
              <a:rPr kumimoji="0" lang="en-US" sz="1350" b="0" i="0" u="none" strike="noStrike" kern="1200" cap="none" spc="0" normalizeH="0" baseline="0" noProof="0" smtClean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745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5C1A2-8042-426C-8D11-9989EF1DF4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91B109-942F-400B-A12A-6B1D225FF6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6781C-9590-442E-B2F4-068C7AE4C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183D80-9914-4017-AB12-0AEF5BE23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F1693-0E6F-46F8-8C2E-1BE653394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094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429F0-3CC7-4AD3-AC88-3F1F32418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C91C94-A54E-463C-966A-7884DA0FFA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551A2-212C-4BA8-903B-5D8FEC617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8AEB4-563B-4D4C-BA2E-4882DA5B5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427F22-0946-436D-B328-519755A345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6220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502019B-8F2B-4CD3-94DD-9B4845058A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56DBFE-24B7-4418-BB9A-D544C6FC21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591A2-0CD4-4C63-9D19-D314590F3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A1D605-5345-4AE3-84BA-CC0305FFA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1FAFC4-17D6-4F1E-B6B9-F439650ED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784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395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0344EF7-FB04-41A4-900F-48EC95C6F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149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638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874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0393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5315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4008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4938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008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966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09DDA-18C1-4B49-B6B4-59A39B3EE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DC0E7F-7FF0-40B4-9945-88FB3F4FB2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8ECF2-74C1-4401-A20D-83ABB588A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79ECEF-28D0-497F-9AB8-25F37B552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4AC6DE-7102-4A67-9AFB-1358FF888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975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053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296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43053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82296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75493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4820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6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2757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88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8106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lang="en-US" sz="7200" dirty="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071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75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ED6EC7-6D3E-4027-A733-9B78EBA48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568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60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48FA6-9B69-4A2B-8A73-66731E03B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A5504B-D51A-4CB9-A343-7D1DCE071A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9D334E-E099-45C2-BC9A-90F72818E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31D365-5702-4E5A-895E-B68A00A9E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78ADAB-0112-4CE9-968F-E74CEC5F9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6559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0344EF7-FB04-41A4-900F-48EC95C6F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505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509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364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8206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2973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4008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76135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008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721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053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296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43053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82296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5577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09901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65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4C9AF-E16C-4EE4-8D53-FE9B6E2FB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AB4C6-0394-49B4-B5A2-37E4615D5C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229F1F-8C16-432A-A049-EE3E8E53CD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941301-930B-4CC3-8D0B-2383FDA91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CDF69F-F8A6-4C57-A779-2B80525AF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3D0ED-6E59-48AA-AD81-B7E7FA9E3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5624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746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5424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3496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lang="en-US" sz="7200" dirty="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0576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01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ED6EC7-6D3E-4027-A733-9B78EBA48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174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5" hidden="1"/>
          <p:cNvSpPr txBox="1">
            <a:spLocks noChangeArrowheads="1"/>
          </p:cNvSpPr>
          <p:nvPr/>
        </p:nvSpPr>
        <p:spPr bwMode="auto">
          <a:xfrm>
            <a:off x="2527300" y="6434118"/>
            <a:ext cx="865717" cy="16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800"/>
              </a:spcBef>
              <a:buClr>
                <a:schemeClr val="bg1"/>
              </a:buClr>
            </a:pPr>
            <a:fld id="{369A9E3D-118E-D14C-BC0D-C49F2A8EB826}" type="datetime1">
              <a:rPr lang="en-US" altLang="en-US" sz="1200">
                <a:solidFill>
                  <a:srgbClr val="7F7F7F"/>
                </a:solidFill>
              </a:rPr>
              <a:pPr eaLnBrk="1" hangingPunct="1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</a:pPr>
              <a:t>6/9/2020</a:t>
            </a:fld>
            <a:endParaRPr lang="en-US" altLang="en-US" sz="1200" dirty="0">
              <a:solidFill>
                <a:srgbClr val="7F7F7F"/>
              </a:solidFill>
            </a:endParaRPr>
          </a:p>
        </p:txBody>
      </p:sp>
      <p:sp>
        <p:nvSpPr>
          <p:cNvPr id="7" name="TextBox 12" hidden="1"/>
          <p:cNvSpPr txBox="1">
            <a:spLocks noChangeArrowheads="1"/>
          </p:cNvSpPr>
          <p:nvPr/>
        </p:nvSpPr>
        <p:spPr bwMode="auto">
          <a:xfrm>
            <a:off x="2527300" y="6434118"/>
            <a:ext cx="865717" cy="16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800"/>
              </a:spcBef>
              <a:buClr>
                <a:schemeClr val="bg1"/>
              </a:buClr>
            </a:pPr>
            <a:fld id="{0A8EB496-DE26-D34A-860A-3A23B700E758}" type="datetime1">
              <a:rPr lang="en-US" altLang="en-US" sz="1200">
                <a:solidFill>
                  <a:srgbClr val="7F7F7F"/>
                </a:solidFill>
              </a:rPr>
              <a:pPr eaLnBrk="1" hangingPunct="1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</a:pPr>
              <a:t>6/9/2020</a:t>
            </a:fld>
            <a:endParaRPr lang="en-US" altLang="en-US" sz="1200" dirty="0">
              <a:solidFill>
                <a:srgbClr val="7F7F7F"/>
              </a:solidFill>
            </a:endParaRPr>
          </a:p>
        </p:txBody>
      </p:sp>
      <p:graphicFrame>
        <p:nvGraphicFramePr>
          <p:cNvPr id="14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4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61952" y="1703918"/>
            <a:ext cx="10610849" cy="425661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455071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918610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0164652"/>
      </p:ext>
    </p:extLst>
  </p:cSld>
  <p:clrMapOvr>
    <a:masterClrMapping/>
  </p:clrMapOvr>
  <p:transition spd="med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sz="3200"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2" y="1339518"/>
            <a:ext cx="10607039" cy="4634564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61" indent="-30901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0083248"/>
      </p:ext>
    </p:extLst>
  </p:cSld>
  <p:clrMapOvr>
    <a:masterClrMapping/>
  </p:clrMapOvr>
  <p:transition spd="med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15" hidden="1"/>
          <p:cNvSpPr txBox="1">
            <a:spLocks noChangeArrowheads="1"/>
          </p:cNvSpPr>
          <p:nvPr/>
        </p:nvSpPr>
        <p:spPr bwMode="auto">
          <a:xfrm>
            <a:off x="2527300" y="6434118"/>
            <a:ext cx="865717" cy="16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800"/>
              </a:spcBef>
              <a:buClr>
                <a:schemeClr val="bg1"/>
              </a:buClr>
            </a:pPr>
            <a:fld id="{931E6670-0D93-BC45-8166-A7720F08BF67}" type="datetime1">
              <a:rPr lang="en-US" altLang="en-US" sz="1200">
                <a:solidFill>
                  <a:srgbClr val="7F7F7F"/>
                </a:solidFill>
              </a:rPr>
              <a:pPr eaLnBrk="1" hangingPunct="1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</a:pPr>
              <a:t>6/9/2020</a:t>
            </a:fld>
            <a:endParaRPr lang="en-US" altLang="en-US" sz="1200" dirty="0">
              <a:solidFill>
                <a:srgbClr val="7F7F7F"/>
              </a:solidFill>
            </a:endParaRPr>
          </a:p>
        </p:txBody>
      </p:sp>
      <p:sp>
        <p:nvSpPr>
          <p:cNvPr id="9" name="TextBox 12" hidden="1"/>
          <p:cNvSpPr txBox="1">
            <a:spLocks noChangeArrowheads="1"/>
          </p:cNvSpPr>
          <p:nvPr/>
        </p:nvSpPr>
        <p:spPr bwMode="auto">
          <a:xfrm>
            <a:off x="2527300" y="6434118"/>
            <a:ext cx="865717" cy="16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800"/>
              </a:spcBef>
              <a:buClr>
                <a:schemeClr val="bg1"/>
              </a:buClr>
            </a:pPr>
            <a:fld id="{DC5F0B61-2D1B-BE49-8067-8EDA6E9A027E}" type="datetime1">
              <a:rPr lang="en-US" altLang="en-US" sz="1200">
                <a:solidFill>
                  <a:srgbClr val="7F7F7F"/>
                </a:solidFill>
              </a:rPr>
              <a:pPr eaLnBrk="1" hangingPunct="1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</a:pPr>
              <a:t>6/9/2020</a:t>
            </a:fld>
            <a:endParaRPr lang="en-US" altLang="en-US" sz="1200" dirty="0">
              <a:solidFill>
                <a:srgbClr val="7F7F7F"/>
              </a:solidFill>
            </a:endParaRPr>
          </a:p>
        </p:txBody>
      </p:sp>
      <p:graphicFrame>
        <p:nvGraphicFramePr>
          <p:cNvPr id="16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6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952" y="1703918"/>
            <a:ext cx="512444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5089" indent="-22647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5835651" y="1703918"/>
            <a:ext cx="513714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5089" indent="-22647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18049027"/>
      </p:ext>
    </p:extLst>
  </p:cSld>
  <p:clrMapOvr>
    <a:masterClrMapping/>
  </p:clrMapOvr>
  <p:transition spd="med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890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546C46-E995-4748-A044-2AFE16DB0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EAA7B9-D732-49C0-9F77-1262EB7A24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A6B2FD-5C00-4CAC-9300-53CA281ED7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60CFC3-21B6-44B6-BDE9-5A09E176B7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B692B0-0482-4B75-BF27-E72230E054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4126D1-AA8A-4FAB-9D07-0AF66FA96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E29D905-19D7-47D6-9208-FAE597DBD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021405-447F-4BFB-9777-B52AFF452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1331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5600" y="330200"/>
            <a:ext cx="10922000" cy="609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dirty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61953" y="1600202"/>
            <a:ext cx="10610849" cy="436033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455059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918588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678433" indent="-306903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70012619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2597F-ABF7-4616-9499-7AE098D6A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8B3ACB-0B49-44CB-B0A2-B0008F2D0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2DA7D0-7F7F-498E-AD31-1CFFDAC9E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DF70ED-6792-4790-8A7A-92243EF319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643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8F106A-BC36-4D5B-B405-C25E14BB4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253A4D-B16D-4591-BFA9-34742A84F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22E78-8676-454B-88CC-1A7212B9D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37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4DC32-134B-4662-931B-6E13004DA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DA4C2-976F-4022-AF34-88B6416181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8A690-F41E-4E30-B839-FF7405CE84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6BA62A-A33A-4D23-AB74-ACE12D079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4D3996-74D7-4742-8939-8611F77C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4610B2-185A-4738-AD7E-6682436F1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877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8719F-5EFB-4820-845D-C85E2A52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F4087BB-5D63-4333-B873-15D261E60B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2B39CE-837A-4547-9474-170643BFBD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FABC7A-D100-47BD-9C70-49536F6D7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952B24-5CD2-4138-B965-CF7DFCF2A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9A26EF-301B-4FD6-B11A-FD6DADB2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05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201E2D-D752-40C2-B1E2-A8ACCEC8C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FD538C-3853-4F2D-B883-4D735EB48B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F7B73B-1402-48D1-BFB3-2F8589E98F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4334D1-28AF-4F59-9840-47C81F59C9E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16FD04-1DCB-4755-9D14-F5AA970DFD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87AB4-F49D-4637-B386-31E34EB2A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E9CBF-FCA0-481F-BE0C-057AE46E7D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622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67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© Copyright 2020 Dell Inc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67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67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 userDrawn="1"/>
        </p:nvSpPr>
        <p:spPr>
          <a:xfrm>
            <a:off x="5276065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667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</p:spTree>
    <p:extLst>
      <p:ext uri="{BB962C8B-B14F-4D97-AF65-F5344CB8AC3E}">
        <p14:creationId xmlns:p14="http://schemas.microsoft.com/office/powerpoint/2010/main" val="80846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  <p15:guide id="5" pos="7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67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© Copyright 2020 Dell Inc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67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67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 userDrawn="1"/>
        </p:nvSpPr>
        <p:spPr>
          <a:xfrm>
            <a:off x="5276065" y="6697379"/>
            <a:ext cx="192360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667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20</a:t>
            </a:r>
          </a:p>
        </p:txBody>
      </p:sp>
    </p:spTree>
    <p:extLst>
      <p:ext uri="{BB962C8B-B14F-4D97-AF65-F5344CB8AC3E}">
        <p14:creationId xmlns:p14="http://schemas.microsoft.com/office/powerpoint/2010/main" val="386916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  <p15:guide id="5" pos="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kotlinlang.org/docs/reference/generics.html" TargetMode="External"/><Relationship Id="rId13" Type="http://schemas.openxmlformats.org/officeDocument/2006/relationships/hyperlink" Target="https://kotlinlang.org/docs/reference/coroutines.html" TargetMode="External"/><Relationship Id="rId3" Type="http://schemas.openxmlformats.org/officeDocument/2006/relationships/hyperlink" Target="https://kotlinlang.org/docs/reference/properties.html" TargetMode="External"/><Relationship Id="rId7" Type="http://schemas.openxmlformats.org/officeDocument/2006/relationships/hyperlink" Target="https://kotlinlang.org/docs/reference/object-declarations.html" TargetMode="External"/><Relationship Id="rId12" Type="http://schemas.openxmlformats.org/officeDocument/2006/relationships/hyperlink" Target="https://kotlinlang.org/docs/reference/collections-overview.html" TargetMode="External"/><Relationship Id="rId2" Type="http://schemas.openxmlformats.org/officeDocument/2006/relationships/hyperlink" Target="https://kotlinlang.org/docs/reference/comparison-to-java.html#what-kotlin-has-that-java-does-no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kotlinlang.org/docs/reference/basic-types.html" TargetMode="External"/><Relationship Id="rId11" Type="http://schemas.openxmlformats.org/officeDocument/2006/relationships/hyperlink" Target="https://kotlinlang.org/docs/reference/classes.html#companion-objects" TargetMode="External"/><Relationship Id="rId5" Type="http://schemas.openxmlformats.org/officeDocument/2006/relationships/hyperlink" Target="https://kotlinlang.org/docs/reference/delegation.html" TargetMode="External"/><Relationship Id="rId10" Type="http://schemas.openxmlformats.org/officeDocument/2006/relationships/hyperlink" Target="https://kotlinlang.org/docs/reference/operator-overloading.html" TargetMode="External"/><Relationship Id="rId4" Type="http://schemas.openxmlformats.org/officeDocument/2006/relationships/hyperlink" Target="https://kotlinlang.org/docs/reference/classes.html" TargetMode="External"/><Relationship Id="rId9" Type="http://schemas.openxmlformats.org/officeDocument/2006/relationships/hyperlink" Target="https://kotlinlang.org/docs/reference/ranges.html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kotlinlang.org/docs/reference/js-overview.html#kotlin-javascript-overview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kotlinlang.org/docs/reference/native/objc_interop.html" TargetMode="External"/><Relationship Id="rId3" Type="http://schemas.openxmlformats.org/officeDocument/2006/relationships/hyperlink" Target="https://llvm.org/" TargetMode="External"/><Relationship Id="rId7" Type="http://schemas.openxmlformats.org/officeDocument/2006/relationships/hyperlink" Target="https://kotlinlang.org/docs/reference/native/c_interop.html" TargetMode="External"/><Relationship Id="rId2" Type="http://schemas.openxmlformats.org/officeDocument/2006/relationships/hyperlink" Target="https://kotlinlang.org/docs/reference/native-overview.html#kotlinnative-for-nativ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kotlinlang.org/docs/tutorials/native/apple-framework.html" TargetMode="External"/><Relationship Id="rId5" Type="http://schemas.openxmlformats.org/officeDocument/2006/relationships/hyperlink" Target="https://kotlinlang.org/docs/tutorials/native/dynamic-libraries.html" TargetMode="External"/><Relationship Id="rId4" Type="http://schemas.openxmlformats.org/officeDocument/2006/relationships/hyperlink" Target="https://kotlinlang.org/docs/reference/native-overview.html#target-platforms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jetbrains.com/idea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NP-hardness" TargetMode="External"/><Relationship Id="rId7" Type="http://schemas.openxmlformats.org/officeDocument/2006/relationships/hyperlink" Target="https://github.com/gagranov/kotlin-evaluation/blob/master/PascalPuzzleSolver" TargetMode="External"/><Relationship Id="rId2" Type="http://schemas.openxmlformats.org/officeDocument/2006/relationships/hyperlink" Target="https://en.wikipedia.org/wiki/15_puzzle" TargetMode="External"/><Relationship Id="rId1" Type="http://schemas.openxmlformats.org/officeDocument/2006/relationships/slideLayout" Target="../slideLayouts/slideLayout27.xml"/><Relationship Id="rId6" Type="http://schemas.openxmlformats.org/officeDocument/2006/relationships/hyperlink" Target="https://github.com/gagranov/kotlin-evaluation/blob/master/MultiPlatformPuzzleSolver/src/commonMain/kotlin/com/emc/symmwin/puzzle/Solver.kt" TargetMode="External"/><Relationship Id="rId5" Type="http://schemas.openxmlformats.org/officeDocument/2006/relationships/hyperlink" Target="https://github.com/gagranov/kotlin-evaluation/blob/master/JavaPlatformPuzzleSolver/src/main/kotlin/com/emc/symmwin/puzzle/KotlinSolver.kt" TargetMode="External"/><Relationship Id="rId4" Type="http://schemas.openxmlformats.org/officeDocument/2006/relationships/hyperlink" Target="https://github.com/gagranov/kotlin-evaluation/blob/master/JavaPlatformPuzzleSolver/src/main/java/com/emc/symmwin/puzzle/JavaSolver.java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kotlinlang.org/docs/reference/js-overview.html#kotlin-javascript-overview" TargetMode="External"/><Relationship Id="rId2" Type="http://schemas.openxmlformats.org/officeDocument/2006/relationships/hyperlink" Target="https://kotlinlang.org/docs/reference/native-overview.html#why-kotlinnative" TargetMode="Externa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Gennady.Agranov@dell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llvm.org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kotlinlang.org/docs/reference/generics.html" TargetMode="External"/><Relationship Id="rId2" Type="http://schemas.openxmlformats.org/officeDocument/2006/relationships/hyperlink" Target="https://kotlinlang.org/docs/reference/comparison-to-java.html#what-java-has-that-kotlin-does-not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kotlinlang.org/docs/reference/null-safety.html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kotlinlang.org/docs/reference/data-classes.html#data-classes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kotlinlang.org/docs/reference/typecasts.html#smart-casts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First-class_function" TargetMode="External"/><Relationship Id="rId2" Type="http://schemas.openxmlformats.org/officeDocument/2006/relationships/hyperlink" Target="https://kotlinlang.org/docs/reference/comparison-to-java.html#what-kotlin-has-that-java-does-not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kotlinlang.org/docs/reference/basic-types.html#strings" TargetMode="External"/><Relationship Id="rId5" Type="http://schemas.openxmlformats.org/officeDocument/2006/relationships/hyperlink" Target="https://kotlinlang.org/docs/reference/inline-functions.html" TargetMode="External"/><Relationship Id="rId4" Type="http://schemas.openxmlformats.org/officeDocument/2006/relationships/hyperlink" Target="https://kotlinlang.org/docs/reference/lambdas.html#higher-order-func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0DD67A5-6F35-4F1F-BE98-42305B05C61B}"/>
              </a:ext>
            </a:extLst>
          </p:cNvPr>
          <p:cNvSpPr txBox="1"/>
          <p:nvPr/>
        </p:nvSpPr>
        <p:spPr>
          <a:xfrm>
            <a:off x="133349" y="90797"/>
            <a:ext cx="10991851" cy="2903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tlin Virtual Meetup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nady Agranov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E6411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B91E9A7B-4F33-49EB-9575-2B48DFF6AD5E}"/>
              </a:ext>
            </a:extLst>
          </p:cNvPr>
          <p:cNvSpPr/>
          <p:nvPr/>
        </p:nvSpPr>
        <p:spPr>
          <a:xfrm>
            <a:off x="3524250" y="266701"/>
            <a:ext cx="8667751" cy="6591300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7AB9F0-5FD9-4AA0-84D1-DD087A9EF8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" y="6229350"/>
            <a:ext cx="2788991" cy="36195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9E41140-65E6-4053-A849-04D2199724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953500" y="3180844"/>
            <a:ext cx="1905000" cy="1905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C91423-A37F-4316-8533-521BB6C33CC6}"/>
              </a:ext>
            </a:extLst>
          </p:cNvPr>
          <p:cNvSpPr txBox="1"/>
          <p:nvPr/>
        </p:nvSpPr>
        <p:spPr>
          <a:xfrm>
            <a:off x="10058401" y="3124038"/>
            <a:ext cx="2019300" cy="14670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e 9</a:t>
            </a:r>
            <a:r>
              <a:rPr kumimoji="0" lang="en-US" sz="3733" b="1" i="0" u="none" strike="noStrike" kern="1200" cap="none" spc="0" normalizeH="0" baseline="3000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endParaRPr kumimoji="0" lang="en-US" sz="3733" b="1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:00 – 6:15 PM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C416C5C-C371-44EB-9BB4-5A2F2AA0FEA6}"/>
              </a:ext>
            </a:extLst>
          </p:cNvPr>
          <p:cNvGraphicFramePr>
            <a:graphicFrameLocks noGrp="1"/>
          </p:cNvGraphicFramePr>
          <p:nvPr/>
        </p:nvGraphicFramePr>
        <p:xfrm>
          <a:off x="5615709" y="5475314"/>
          <a:ext cx="6408016" cy="9128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08016">
                  <a:extLst>
                    <a:ext uri="{9D8B030D-6E8A-4147-A177-3AD203B41FA5}">
                      <a16:colId xmlns:a16="http://schemas.microsoft.com/office/drawing/2014/main" val="2256484875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endParaRPr lang="en-US" sz="2800" dirty="0"/>
                    </a:p>
                  </a:txBody>
                  <a:tcPr>
                    <a:lnB w="571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763766"/>
                  </a:ext>
                </a:extLst>
              </a:tr>
              <a:tr h="394653"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>
                    <a:lnT w="571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975831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4357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AC587-AC73-479E-AE13-5C674590D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009651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else Kotlin has that Java does not?</a:t>
            </a:r>
            <a:endParaRPr lang="en-US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5E167E8-7FB3-4294-BB27-B208E0DCCDD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939248" y="1690688"/>
            <a:ext cx="10313504" cy="5134709"/>
          </a:xfrm>
          <a:prstGeom prst="rect">
            <a:avLst/>
          </a:prstGeom>
          <a:solidFill>
            <a:srgbClr val="F9F9F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440" tIns="0" rIns="0" bIns="952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pert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imary constructo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rst-class delegation</a:t>
            </a:r>
            <a:endParaRPr kumimoji="0" lang="en-US" altLang="en-US" sz="1800" b="0" i="0" u="sng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ype inference for variable and property typ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ngleto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claration-site variance &amp; Type projectio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ange expressio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rator overload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nion objec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parate interfaces for read-only and mutable collectio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0" i="0" u="sng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outin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61243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A5E25-30DC-4F43-9E2C-57D06690E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04382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does it mean </a:t>
            </a:r>
            <a:r>
              <a:rPr lang="en-US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compiles to </a:t>
            </a:r>
            <a:r>
              <a:rPr lang="en-US" dirty="0" err="1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vascript</a:t>
            </a:r>
            <a:r>
              <a:rPr lang="en-US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”</a:t>
            </a:r>
            <a:r>
              <a:rPr lang="en-US" dirty="0">
                <a:solidFill>
                  <a:srgbClr val="00206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?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CC7977-3014-452D-99AF-DB67C5BC3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4917"/>
            <a:ext cx="10515600" cy="479204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When you choose the JavaScript target, Kotlin code that is part of the project as well as the standard Kotlin library is </a:t>
            </a:r>
            <a:r>
              <a:rPr lang="en-US" dirty="0" err="1"/>
              <a:t>transpiled</a:t>
            </a:r>
            <a:r>
              <a:rPr lang="en-US" dirty="0"/>
              <a:t> to JavaScript.</a:t>
            </a:r>
          </a:p>
          <a:p>
            <a:r>
              <a:rPr lang="en-US" dirty="0">
                <a:solidFill>
                  <a:srgbClr val="FF0000"/>
                </a:solidFill>
              </a:rPr>
              <a:t>Kotlin compiler generates normal JavaScript classes, functions and properties you can freely use from JavaScript code</a:t>
            </a:r>
            <a:r>
              <a:rPr lang="en-US" dirty="0"/>
              <a:t>.</a:t>
            </a:r>
          </a:p>
          <a:p>
            <a:r>
              <a:rPr lang="en-US" dirty="0"/>
              <a:t>Creating Kotlin code that targets client-side JavaScript:</a:t>
            </a:r>
          </a:p>
          <a:p>
            <a:pPr lvl="1"/>
            <a:r>
              <a:rPr lang="en-US" dirty="0"/>
              <a:t>Kotlin provides a series of typed interfaces to interact with the DOM. </a:t>
            </a:r>
          </a:p>
          <a:p>
            <a:pPr lvl="1"/>
            <a:r>
              <a:rPr lang="en-US" dirty="0"/>
              <a:t>Kotlin provides JavaScript wrappers for the WebGL API.</a:t>
            </a:r>
          </a:p>
          <a:p>
            <a:r>
              <a:rPr lang="en-US" dirty="0"/>
              <a:t>Creating Kotlin code that targets server-side JavaScript:</a:t>
            </a:r>
          </a:p>
          <a:p>
            <a:pPr lvl="1"/>
            <a:r>
              <a:rPr lang="en-US" dirty="0"/>
              <a:t>You can use Kotlin to interact with server-side JavaScript such as Node.js</a:t>
            </a:r>
          </a:p>
          <a:p>
            <a:pPr lvl="1"/>
            <a:r>
              <a:rPr lang="en-US" dirty="0"/>
              <a:t>Kotlin can be used together with existing third-party libraries and frameworks, such as jQuery or React. </a:t>
            </a:r>
          </a:p>
        </p:txBody>
      </p:sp>
    </p:spTree>
    <p:extLst>
      <p:ext uri="{BB962C8B-B14F-4D97-AF65-F5344CB8AC3E}">
        <p14:creationId xmlns:p14="http://schemas.microsoft.com/office/powerpoint/2010/main" val="30760015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536F5-AD89-4492-9CEE-CA830944D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12192000" cy="886626"/>
          </a:xfrm>
        </p:spPr>
        <p:txBody>
          <a:bodyPr/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does it mean </a:t>
            </a:r>
            <a:r>
              <a:rPr lang="en-US" dirty="0">
                <a:solidFill>
                  <a:srgbClr val="FF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compiles to native code”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D955F3-B732-4676-8547-8D4782DAFC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1550"/>
            <a:ext cx="10515600" cy="4998128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US" dirty="0"/>
              <a:t>Kotlin/Native is a technology for compiling Kotlin code to native binaries. It is an </a:t>
            </a:r>
            <a:r>
              <a:rPr lang="en-US" u="sng" dirty="0">
                <a:hlinkClick r:id="rId3"/>
              </a:rPr>
              <a:t>LLVM</a:t>
            </a:r>
            <a:r>
              <a:rPr lang="en-US" dirty="0"/>
              <a:t> based backend for the Kotlin compiler and native implementation of the Kotlin standard library.</a:t>
            </a:r>
          </a:p>
          <a:p>
            <a:pPr marL="0" indent="0">
              <a:buNone/>
            </a:pPr>
            <a:r>
              <a:rPr lang="en-US" dirty="0"/>
              <a:t>Kotlin/Native is primarily designed to allow compilation for platforms where </a:t>
            </a:r>
            <a:r>
              <a:rPr lang="en-US" i="1" dirty="0"/>
              <a:t>virtual machines</a:t>
            </a:r>
            <a:r>
              <a:rPr lang="en-US" dirty="0"/>
              <a:t> are not desirable or possible, for example, embedded devices or iOS. It solves the situations when a developer needs to produce a self-contained program that does not require an additional runtime or virtual machine.</a:t>
            </a:r>
          </a:p>
          <a:p>
            <a:pPr marL="0" indent="0">
              <a:buNone/>
            </a:pPr>
            <a:r>
              <a:rPr lang="en-US" dirty="0"/>
              <a:t>Kotlin/Native supports the following platforms:</a:t>
            </a:r>
          </a:p>
          <a:p>
            <a:r>
              <a:rPr lang="en-US" dirty="0"/>
              <a:t>iOS (arm32, arm64, simulator x86_64)</a:t>
            </a:r>
          </a:p>
          <a:p>
            <a:r>
              <a:rPr lang="en-US" dirty="0"/>
              <a:t>macOS (x86_64)</a:t>
            </a:r>
          </a:p>
          <a:p>
            <a:r>
              <a:rPr lang="en-US" dirty="0" err="1"/>
              <a:t>watchOS</a:t>
            </a:r>
            <a:r>
              <a:rPr lang="en-US" dirty="0"/>
              <a:t> (arm32, arm64, x86)</a:t>
            </a:r>
          </a:p>
          <a:p>
            <a:r>
              <a:rPr lang="en-US" dirty="0" err="1"/>
              <a:t>tvOS</a:t>
            </a:r>
            <a:r>
              <a:rPr lang="en-US" dirty="0"/>
              <a:t> (arm64, x86_64)</a:t>
            </a:r>
          </a:p>
          <a:p>
            <a:r>
              <a:rPr lang="en-US" dirty="0"/>
              <a:t>Android (arm32, arm64, x86, x86_64)</a:t>
            </a:r>
          </a:p>
          <a:p>
            <a:r>
              <a:rPr lang="en-US" dirty="0"/>
              <a:t>Windows (</a:t>
            </a:r>
            <a:r>
              <a:rPr lang="en-US" dirty="0" err="1"/>
              <a:t>mingw</a:t>
            </a:r>
            <a:r>
              <a:rPr lang="en-US" dirty="0"/>
              <a:t> x86_64, x86)</a:t>
            </a:r>
          </a:p>
          <a:p>
            <a:r>
              <a:rPr lang="en-US" dirty="0"/>
              <a:t>Linux (x86_64, arm32, arm64, MIPS, MIPS little endian)</a:t>
            </a:r>
          </a:p>
          <a:p>
            <a:r>
              <a:rPr lang="en-US" dirty="0" err="1"/>
              <a:t>WebAssembly</a:t>
            </a:r>
            <a:r>
              <a:rPr lang="en-US" dirty="0"/>
              <a:t> (wasm32)</a:t>
            </a:r>
          </a:p>
          <a:p>
            <a:pPr marL="0" indent="0">
              <a:buNone/>
            </a:pPr>
            <a:r>
              <a:rPr lang="en-US" dirty="0"/>
              <a:t>Kotlin/Native supports two-way interoperability with the Native world:</a:t>
            </a:r>
          </a:p>
          <a:p>
            <a:r>
              <a:rPr lang="en-US" dirty="0"/>
              <a:t>You can create a standalone executable for many </a:t>
            </a:r>
            <a:r>
              <a:rPr lang="en-US" u="sng" dirty="0">
                <a:hlinkClick r:id="rId4"/>
              </a:rPr>
              <a:t>platforms</a:t>
            </a:r>
            <a:endParaRPr lang="en-US" dirty="0"/>
          </a:p>
          <a:p>
            <a:r>
              <a:rPr lang="en-US" dirty="0"/>
              <a:t>You can create static library or </a:t>
            </a:r>
            <a:r>
              <a:rPr lang="en-US" u="sng" dirty="0">
                <a:hlinkClick r:id="rId5"/>
              </a:rPr>
              <a:t>dynamic</a:t>
            </a:r>
            <a:r>
              <a:rPr lang="en-US" dirty="0"/>
              <a:t> library with C headers for C/C++ projects </a:t>
            </a:r>
          </a:p>
          <a:p>
            <a:r>
              <a:rPr lang="en-US" dirty="0"/>
              <a:t>You can create an </a:t>
            </a:r>
            <a:r>
              <a:rPr lang="en-US" u="sng" dirty="0">
                <a:hlinkClick r:id="rId6"/>
              </a:rPr>
              <a:t>Apple framework</a:t>
            </a:r>
            <a:r>
              <a:rPr lang="en-US" dirty="0"/>
              <a:t> for Swift and Objective-C projects</a:t>
            </a:r>
          </a:p>
          <a:p>
            <a:r>
              <a:rPr lang="en-US" dirty="0"/>
              <a:t>You can use existing static or dynamic </a:t>
            </a:r>
            <a:r>
              <a:rPr lang="en-US" u="sng" dirty="0">
                <a:hlinkClick r:id="rId7"/>
              </a:rPr>
              <a:t>C Libraries</a:t>
            </a:r>
            <a:endParaRPr lang="en-US" dirty="0"/>
          </a:p>
          <a:p>
            <a:r>
              <a:rPr lang="en-US" dirty="0"/>
              <a:t>You can use existing  C, </a:t>
            </a:r>
            <a:r>
              <a:rPr lang="en-US" u="sng" dirty="0">
                <a:hlinkClick r:id="rId8"/>
              </a:rPr>
              <a:t>Swift, and Objective-C</a:t>
            </a:r>
            <a:r>
              <a:rPr lang="en-US" dirty="0"/>
              <a:t> framework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605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0779B-967C-4796-82F1-C1ACA8A68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7865"/>
          </a:xfrm>
        </p:spPr>
        <p:txBody>
          <a:bodyPr/>
          <a:lstStyle/>
          <a:p>
            <a:r>
              <a:rPr lang="en-US" dirty="0"/>
              <a:t>How to use Kotli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539C30-58E7-47C4-8452-AD82E2C623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62990"/>
            <a:ext cx="10515600" cy="511397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stall IntelliJ IDEA</a:t>
            </a:r>
            <a:r>
              <a:rPr lang="en-US" dirty="0"/>
              <a:t> and create project: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44A592-61A4-4959-A59B-6D7E6DDA8C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8573" y="1635472"/>
            <a:ext cx="6829425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21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DE0FE-CC54-49E0-83B6-446A0608F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Multiplatform Library Project: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4DC0959-FF68-450C-9D6A-EB1D38C126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80335" y="1598136"/>
            <a:ext cx="6991350" cy="506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4822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DD036-0CC9-4C19-9C07-EE4D2CB5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fteen Puzzle Game </a:t>
            </a:r>
            <a:endParaRPr lang="en-US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20BB4E-920F-4A0B-B8BF-910C9E770B2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25625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</a:rPr>
              <a:t>Some puzzle trivia:</a:t>
            </a:r>
          </a:p>
          <a:p>
            <a:r>
              <a:rPr lang="en-US" dirty="0">
                <a:solidFill>
                  <a:schemeClr val="tx2"/>
                </a:solidFill>
              </a:rPr>
              <a:t>Only half of all possible starting positions is solvable</a:t>
            </a:r>
          </a:p>
          <a:p>
            <a:r>
              <a:rPr lang="en-US" dirty="0">
                <a:solidFill>
                  <a:schemeClr val="tx2"/>
                </a:solidFill>
              </a:rPr>
              <a:t>Finding shortest solution is </a:t>
            </a:r>
            <a:r>
              <a:rPr lang="en-US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P-hard </a:t>
            </a:r>
            <a:r>
              <a:rPr lang="en-US" dirty="0">
                <a:solidFill>
                  <a:schemeClr val="tx2"/>
                </a:solidFill>
              </a:rPr>
              <a:t>problem</a:t>
            </a:r>
          </a:p>
          <a:p>
            <a:pPr marL="0" indent="0">
              <a:buNone/>
            </a:pPr>
            <a:endParaRPr lang="en-US" dirty="0">
              <a:solidFill>
                <a:schemeClr val="tx2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va Puzzle Solver</a:t>
            </a:r>
            <a:endParaRPr lang="en-US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va Puzzle Solver converted to Kotlin</a:t>
            </a:r>
            <a:endParaRPr lang="en-US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 Puzzle Solver that only uses </a:t>
            </a:r>
            <a:r>
              <a:rPr lang="en-US" dirty="0" err="1">
                <a:solidFill>
                  <a:schemeClr val="tx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.stdlib</a:t>
            </a:r>
            <a:endParaRPr lang="en-US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s-ES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scal </a:t>
            </a:r>
            <a:r>
              <a:rPr lang="es-ES" dirty="0" err="1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ication</a:t>
            </a:r>
            <a:r>
              <a:rPr lang="es-ES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ES" dirty="0" err="1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ls</a:t>
            </a:r>
            <a:r>
              <a:rPr lang="es-ES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ES" dirty="0" err="1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</a:t>
            </a:r>
            <a:r>
              <a:rPr lang="es-ES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LL (Lazarus IDE)</a:t>
            </a:r>
            <a:endParaRPr lang="es-ES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4740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ECC92-404F-4E46-A804-67C22B3A9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329939"/>
            <a:ext cx="11430000" cy="933254"/>
          </a:xfrm>
        </p:spPr>
        <p:txBody>
          <a:bodyPr/>
          <a:lstStyle/>
          <a:p>
            <a:pPr algn="ctr"/>
            <a:r>
              <a:rPr lang="en-US" sz="4400" dirty="0"/>
              <a:t>Most loved languages of 2019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582095-BF03-41F5-8261-01B0668FCD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1602558"/>
            <a:ext cx="11430000" cy="5090474"/>
          </a:xfrm>
        </p:spPr>
        <p:txBody>
          <a:bodyPr/>
          <a:lstStyle/>
          <a:p>
            <a:r>
              <a:rPr lang="en-US" dirty="0"/>
              <a:t>Rust – 83.5%</a:t>
            </a:r>
          </a:p>
          <a:p>
            <a:r>
              <a:rPr lang="en-US" dirty="0"/>
              <a:t>Python – 73.1%</a:t>
            </a:r>
          </a:p>
          <a:p>
            <a:r>
              <a:rPr lang="en-US" dirty="0"/>
              <a:t>Typescript – 73.1%</a:t>
            </a:r>
          </a:p>
          <a:p>
            <a:r>
              <a:rPr lang="en-US" dirty="0"/>
              <a:t>Kotlin – 72.6%</a:t>
            </a:r>
          </a:p>
          <a:p>
            <a:r>
              <a:rPr lang="en-US" dirty="0"/>
              <a:t>…</a:t>
            </a:r>
          </a:p>
          <a:p>
            <a:r>
              <a:rPr lang="en-US" dirty="0" err="1"/>
              <a:t>Javascript</a:t>
            </a:r>
            <a:r>
              <a:rPr lang="en-US" dirty="0"/>
              <a:t> – 66.8%</a:t>
            </a:r>
          </a:p>
          <a:p>
            <a:r>
              <a:rPr lang="en-US" dirty="0"/>
              <a:t>…</a:t>
            </a:r>
          </a:p>
          <a:p>
            <a:r>
              <a:rPr lang="en-US" dirty="0"/>
              <a:t>Scala – 58.3%</a:t>
            </a:r>
          </a:p>
          <a:p>
            <a:r>
              <a:rPr lang="en-US" dirty="0"/>
              <a:t>…</a:t>
            </a:r>
          </a:p>
          <a:p>
            <a:r>
              <a:rPr lang="en-US" dirty="0"/>
              <a:t>Java – 53.4%</a:t>
            </a:r>
          </a:p>
          <a:p>
            <a:r>
              <a:rPr lang="en-US" dirty="0"/>
              <a:t>…</a:t>
            </a:r>
          </a:p>
          <a:p>
            <a:r>
              <a:rPr lang="en-US" dirty="0"/>
              <a:t>C – 42.5%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1702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863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E5821-EAF0-4E3D-BE95-6900682B22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4400" b="1" dirty="0"/>
              <a:t>Meeting agenda:</a:t>
            </a:r>
            <a:br>
              <a:rPr lang="en-US" sz="4400" b="1" dirty="0"/>
            </a:br>
            <a:br>
              <a:rPr lang="en-US" sz="4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7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3C894B-3569-430C-8C1B-C8E51B23ED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1772240"/>
            <a:ext cx="11430000" cy="4072380"/>
          </a:xfrm>
        </p:spPr>
        <p:txBody>
          <a:bodyPr>
            <a:normAutofit fontScale="40000" lnSpcReduction="20000"/>
          </a:bodyPr>
          <a:lstStyle/>
          <a:p>
            <a:pPr algn="just"/>
            <a:endParaRPr lang="en-US" sz="1800" dirty="0"/>
          </a:p>
          <a:p>
            <a:pPr algn="l"/>
            <a:r>
              <a:rPr lang="en-US" sz="6000" dirty="0">
                <a:solidFill>
                  <a:prstClr val="black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</a:t>
            </a: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. What is Kotlin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2. What Java has that Kotlin does not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3. What Kotlin has that Java does not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4. </a:t>
            </a: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Kotlin Native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5. </a:t>
            </a: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Kotlin JS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6. How to use Kotlin?</a:t>
            </a:r>
            <a:b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8000" dirty="0">
                <a:solidFill>
                  <a:prstClr val="black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7. Playing Fifteen Puzzle Game!</a:t>
            </a:r>
          </a:p>
          <a:p>
            <a:pPr algn="l"/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en-US" sz="4200" dirty="0"/>
          </a:p>
          <a:p>
            <a:r>
              <a:rPr lang="en-US" sz="4200" dirty="0"/>
              <a:t>This presentation was prepared by </a:t>
            </a:r>
            <a:r>
              <a:rPr lang="en-US" sz="4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nnady Agranov</a:t>
            </a:r>
            <a:r>
              <a:rPr lang="en-US" sz="4200" dirty="0"/>
              <a:t> (</a:t>
            </a:r>
            <a:r>
              <a:rPr lang="en-US" sz="4200" dirty="0" err="1"/>
              <a:t>Symmwin</a:t>
            </a:r>
            <a:r>
              <a:rPr lang="en-US" sz="4200" dirty="0"/>
              <a:t> Configuration) and would not be possible without help of my teammates who were holding the fort while I was having fun and full support of our manager who allowed it </a:t>
            </a:r>
            <a:r>
              <a:rPr lang="en-US" sz="4200" dirty="0">
                <a:sym typeface="Wingdings" panose="05000000000000000000" pitchFamily="2" charset="2"/>
              </a:rPr>
              <a:t></a:t>
            </a:r>
            <a:endParaRPr lang="en-US" sz="4200" dirty="0"/>
          </a:p>
          <a:p>
            <a:pPr algn="just"/>
            <a:endParaRPr lang="en-US" sz="42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9116450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F38093-D07B-4146-BCF6-A2CC0A99F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88972"/>
          </a:xfrm>
        </p:spPr>
        <p:txBody>
          <a:bodyPr>
            <a:normAutofit/>
          </a:bodyPr>
          <a:lstStyle/>
          <a:p>
            <a:pPr algn="ctr"/>
            <a:r>
              <a:rPr lang="en-US" sz="4000" dirty="0"/>
              <a:t>That’s</a:t>
            </a:r>
            <a:r>
              <a:rPr lang="en-US" sz="3200" dirty="0"/>
              <a:t> what Wikipedia tells us about Kotli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CDE05B-1E8A-40A5-882E-42931211C4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4098"/>
            <a:ext cx="10515600" cy="5022865"/>
          </a:xfrm>
        </p:spPr>
        <p:txBody>
          <a:bodyPr>
            <a:normAutofit/>
          </a:bodyPr>
          <a:lstStyle/>
          <a:p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Kotlin (/ˈ</a:t>
            </a:r>
            <a:r>
              <a:rPr lang="en-US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kɒtlɪn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/) is a cross-platform, statically typed, general-purpose programming language with type inference. 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Kotlin is designed to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eroperate fully with Java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Kotlin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so compiles to JavaScript or native code (via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LVM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Language development costs are borne by JetBrains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IntelliJ IDEA – a very popular integrated development environment  developed by JetBrains is all you need to learn and enjoy Kotlin.</a:t>
            </a:r>
          </a:p>
        </p:txBody>
      </p:sp>
    </p:spTree>
    <p:extLst>
      <p:ext uri="{BB962C8B-B14F-4D97-AF65-F5344CB8AC3E}">
        <p14:creationId xmlns:p14="http://schemas.microsoft.com/office/powerpoint/2010/main" val="264822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DF931-F89D-4514-B4B5-E244D25C0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5999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What does it mean </a:t>
            </a:r>
            <a:r>
              <a:rPr lang="en-US" sz="4000" dirty="0">
                <a:solidFill>
                  <a:srgbClr val="FF0000"/>
                </a:solidFill>
              </a:rPr>
              <a:t>“interoperate fully with Java”</a:t>
            </a:r>
            <a:r>
              <a:rPr lang="en-US" sz="4000" dirty="0">
                <a:solidFill>
                  <a:srgbClr val="002060"/>
                </a:solidFill>
              </a:rPr>
              <a:t> ?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990A765-DCC3-4845-B365-A7A6BDE1F4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35837"/>
            <a:ext cx="10515600" cy="4641126"/>
          </a:xfrm>
        </p:spPr>
        <p:txBody>
          <a:bodyPr>
            <a:normAutofit/>
          </a:bodyPr>
          <a:lstStyle/>
          <a:p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Kotlin’s main compilation target is Java Virtual Machine (JVM)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It allows your Kotlin code to run inside JVM and use existing Java libraries. 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It also allows existing Java code to call your Kotlin code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If you use IntelliJ you can convert Java file to Kotlin file with one click – IDE would enable Kotlin support and convert Java to Kotlin.</a:t>
            </a:r>
          </a:p>
          <a:p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If you convert the whole application to Kotlin you would notice that it may become faster (I have a proof!) and files are now smaller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  <a:sym typeface="Wingdings" panose="05000000000000000000" pitchFamily="2" charset="2"/>
              </a:rPr>
              <a:t></a:t>
            </a: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endParaRPr lang="en-US" sz="3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374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2EE35B-DBCF-47DA-96A6-117A5E800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Java has that Kotlin does not?</a:t>
            </a: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B024AA-4AD4-4455-91C4-CDC25AD0A5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0326"/>
            <a:ext cx="10515600" cy="4882719"/>
          </a:xfrm>
        </p:spPr>
        <p:txBody>
          <a:bodyPr>
            <a:normAutofit fontScale="32500" lnSpcReduction="20000"/>
          </a:bodyPr>
          <a:lstStyle/>
          <a:p>
            <a:r>
              <a:rPr lang="en-US" sz="4500" dirty="0"/>
              <a:t>Checked exceptions – good riddance! – RIP dear checked exceptions,  we are not going to miss you </a:t>
            </a:r>
            <a:r>
              <a:rPr lang="en-US" sz="4500" dirty="0">
                <a:sym typeface="Wingdings" panose="05000000000000000000" pitchFamily="2" charset="2"/>
              </a:rPr>
              <a:t></a:t>
            </a:r>
            <a:endParaRPr lang="en-US" sz="4500" dirty="0"/>
          </a:p>
          <a:p>
            <a:r>
              <a:rPr lang="en-US" sz="4500" dirty="0"/>
              <a:t>Primitive types that are not classes - in Kotlin everything is an object in the sense that we can call member functions and properties on any variable. Some of the types (e.g.  numbers, characters and </a:t>
            </a:r>
            <a:r>
              <a:rPr lang="en-US" sz="4500" dirty="0" err="1"/>
              <a:t>booleans</a:t>
            </a:r>
            <a:r>
              <a:rPr lang="en-US" sz="4500" dirty="0"/>
              <a:t>)  can be represented as primitive values at runtime - but to the user they look like ordinary classes.</a:t>
            </a:r>
          </a:p>
          <a:p>
            <a:r>
              <a:rPr lang="en-US" sz="4500" dirty="0"/>
              <a:t>Static members – in Kotlin you do not need to declare a class if you just want to write a function or declare some constant/variable.</a:t>
            </a:r>
          </a:p>
          <a:p>
            <a:r>
              <a:rPr lang="en-US" sz="4500" dirty="0"/>
              <a:t>Wildcard-types – in Kotlin Java wildcard generic types were replaced with declaration-site variance and type projections. You can read more </a:t>
            </a:r>
            <a:r>
              <a:rPr lang="en-US" sz="4500" dirty="0">
                <a:hlinkClick r:id="rId3"/>
              </a:rPr>
              <a:t>here</a:t>
            </a:r>
            <a:r>
              <a:rPr lang="en-US" sz="4500" dirty="0"/>
              <a:t>.</a:t>
            </a:r>
          </a:p>
          <a:p>
            <a:r>
              <a:rPr lang="en-US" sz="4500" dirty="0"/>
              <a:t>Ternary-operator a ? b : c - In Kotlin, if is an expression, i.e. it returns a value. Therefore there is no ternary operator (condition ? then : else), because ordinary if works fine in this role:</a:t>
            </a:r>
          </a:p>
          <a:p>
            <a:pPr marL="0" indent="0">
              <a:buNone/>
            </a:pPr>
            <a:r>
              <a:rPr lang="en-US" sz="4500" dirty="0"/>
              <a:t>	</a:t>
            </a:r>
            <a:r>
              <a:rPr lang="en-US" sz="4500" dirty="0" err="1"/>
              <a:t>val</a:t>
            </a:r>
            <a:r>
              <a:rPr lang="en-US" sz="4500" dirty="0"/>
              <a:t> max = if (a &gt; b) a else b</a:t>
            </a:r>
          </a:p>
          <a:p>
            <a:pPr marL="0" indent="0">
              <a:buNone/>
            </a:pPr>
            <a:r>
              <a:rPr lang="en-US" sz="4500" dirty="0"/>
              <a:t>	</a:t>
            </a:r>
            <a:r>
              <a:rPr lang="en-US" sz="4500" dirty="0" err="1"/>
              <a:t>val</a:t>
            </a:r>
            <a:r>
              <a:rPr lang="en-US" sz="4500" dirty="0"/>
              <a:t> max = if (a &gt; b) {</a:t>
            </a:r>
          </a:p>
          <a:p>
            <a:pPr marL="0" indent="0">
              <a:buNone/>
            </a:pPr>
            <a:r>
              <a:rPr lang="en-US" sz="4500" dirty="0"/>
              <a:t>	       print("Choose a")</a:t>
            </a:r>
          </a:p>
          <a:p>
            <a:pPr marL="0" indent="0">
              <a:buNone/>
            </a:pPr>
            <a:r>
              <a:rPr lang="en-US" sz="4500" dirty="0"/>
              <a:t>	       a</a:t>
            </a:r>
          </a:p>
          <a:p>
            <a:pPr marL="0" indent="0">
              <a:buNone/>
            </a:pPr>
            <a:r>
              <a:rPr lang="en-US" sz="4500" dirty="0"/>
              <a:t>	} else {</a:t>
            </a:r>
          </a:p>
          <a:p>
            <a:pPr marL="0" indent="0">
              <a:buNone/>
            </a:pPr>
            <a:r>
              <a:rPr lang="en-US" sz="4500" dirty="0"/>
              <a:t>	       print("Choose b")</a:t>
            </a:r>
          </a:p>
          <a:p>
            <a:pPr marL="0" indent="0">
              <a:buNone/>
            </a:pPr>
            <a:r>
              <a:rPr lang="en-US" sz="4500" dirty="0"/>
              <a:t>	       b</a:t>
            </a:r>
          </a:p>
          <a:p>
            <a:pPr marL="0" indent="0">
              <a:buNone/>
            </a:pPr>
            <a:r>
              <a:rPr lang="en-US" sz="4500" dirty="0"/>
              <a:t>	}</a:t>
            </a:r>
          </a:p>
          <a:p>
            <a:pPr marL="0" indent="0">
              <a:buNone/>
            </a:pPr>
            <a:r>
              <a:rPr lang="en-US" sz="4500" dirty="0"/>
              <a:t>By the way – did I tell you that you rarely need semicolon (;) in Kotlin?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430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10B97-CBBA-4B07-9F29-308501405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2036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 provides null safety!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B0F440-E2AE-40C5-A78D-C27B2F5B7D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3693"/>
            <a:ext cx="10515600" cy="4703270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dirty="0"/>
              <a:t>In Kotlin, the type system distinguishes between references that can hold null (nullable references) and those that can not (non-null references). For example, a regular variable of type String can not hold null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var a: String = "</a:t>
            </a:r>
            <a:r>
              <a:rPr lang="en-US" dirty="0" err="1"/>
              <a:t>abc</a:t>
            </a:r>
            <a:r>
              <a:rPr lang="en-US" dirty="0"/>
              <a:t>" // Regular initialization means non-null by default (type declaration is redundant here)</a:t>
            </a:r>
          </a:p>
          <a:p>
            <a:pPr marL="0" indent="0">
              <a:buNone/>
            </a:pPr>
            <a:r>
              <a:rPr lang="en-US" dirty="0"/>
              <a:t>a = null // compilation err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var b: String? = "</a:t>
            </a:r>
            <a:r>
              <a:rPr lang="en-US" dirty="0" err="1"/>
              <a:t>abc</a:t>
            </a:r>
            <a:r>
              <a:rPr lang="en-US" dirty="0"/>
              <a:t>" // can be set null</a:t>
            </a:r>
          </a:p>
          <a:p>
            <a:pPr marL="0" indent="0">
              <a:buNone/>
            </a:pPr>
            <a:r>
              <a:rPr lang="en-US" dirty="0"/>
              <a:t>b = null // ok</a:t>
            </a:r>
          </a:p>
          <a:p>
            <a:pPr marL="0" indent="0">
              <a:buNone/>
            </a:pPr>
            <a:r>
              <a:rPr lang="en-US" dirty="0"/>
              <a:t>print(b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err="1"/>
              <a:t>val</a:t>
            </a:r>
            <a:r>
              <a:rPr lang="en-US" dirty="0"/>
              <a:t> l = </a:t>
            </a:r>
            <a:r>
              <a:rPr lang="en-US" dirty="0" err="1"/>
              <a:t>a.length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err="1"/>
              <a:t>val</a:t>
            </a:r>
            <a:r>
              <a:rPr lang="en-US" dirty="0"/>
              <a:t> l = </a:t>
            </a:r>
            <a:r>
              <a:rPr lang="en-US" dirty="0" err="1"/>
              <a:t>b.length</a:t>
            </a:r>
            <a:r>
              <a:rPr lang="en-US" dirty="0"/>
              <a:t> // error: variable 'b' can be nul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err="1"/>
              <a:t>val</a:t>
            </a:r>
            <a:r>
              <a:rPr lang="en-US" dirty="0"/>
              <a:t> l = if (b != null) </a:t>
            </a:r>
            <a:r>
              <a:rPr lang="en-US" dirty="0" err="1"/>
              <a:t>b.length</a:t>
            </a:r>
            <a:r>
              <a:rPr lang="en-US" dirty="0"/>
              <a:t> else -1 // smart casting from String? to String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332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FC08D-7CCE-40E5-86BA-43EA5AA61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5403"/>
          </a:xfrm>
        </p:spPr>
        <p:txBody>
          <a:bodyPr/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 has data classes!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AED9E-F3A5-4B38-81F8-C6315FB0D8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1751"/>
            <a:ext cx="10515600" cy="55041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Java: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lass Book {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rivate String title;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rivate String author;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ublic String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getTit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) {  return title; }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ublic void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tTit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String title) {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his.tit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= title; }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ublic String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getAutho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) { return author; }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   public void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tAutho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String author) {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his.autho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= author; }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}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Kotlin: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ata class Book(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a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title: String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a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uthor: String) 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// equals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hashCod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oString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getters, setters and clone(copy) methods are generated if not found.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219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FC08D-7CCE-40E5-86BA-43EA5AA61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5403"/>
          </a:xfrm>
        </p:spPr>
        <p:txBody>
          <a:bodyPr/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tlin has smart casts!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AED9E-F3A5-4B38-81F8-C6315FB0D8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5034" y="1439920"/>
            <a:ext cx="4492095" cy="514425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en-US" sz="12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if (obj is String)  {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    print(</a:t>
            </a:r>
            <a:r>
              <a:rPr lang="en-US" sz="1800" dirty="0" err="1">
                <a:latin typeface="Calibri" panose="020F0502020204030204" pitchFamily="34" charset="0"/>
              </a:rPr>
              <a:t>obj.length</a:t>
            </a:r>
            <a:r>
              <a:rPr lang="en-US" sz="1800" dirty="0">
                <a:latin typeface="Calibri" panose="020F0502020204030204" pitchFamily="34" charset="0"/>
              </a:rPr>
              <a:t>)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​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if (obj !is String)  { // same as !(obj is String)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    print("Not a String")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}  else  {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    print(</a:t>
            </a:r>
            <a:r>
              <a:rPr lang="en-US" sz="1800" dirty="0" err="1">
                <a:latin typeface="Calibri" panose="020F0502020204030204" pitchFamily="34" charset="0"/>
              </a:rPr>
              <a:t>obj.length</a:t>
            </a:r>
            <a:r>
              <a:rPr lang="en-US" sz="1800" dirty="0">
                <a:latin typeface="Calibri" panose="020F0502020204030204" pitchFamily="34" charset="0"/>
              </a:rPr>
              <a:t>)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}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if (x !is String) return​</a:t>
            </a: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print(</a:t>
            </a:r>
            <a:r>
              <a:rPr lang="en-US" sz="1800" dirty="0" err="1">
                <a:latin typeface="Calibri" panose="020F0502020204030204" pitchFamily="34" charset="0"/>
              </a:rPr>
              <a:t>x.length</a:t>
            </a:r>
            <a:r>
              <a:rPr lang="en-US" sz="1800" dirty="0">
                <a:latin typeface="Calibri" panose="020F0502020204030204" pitchFamily="34" charset="0"/>
              </a:rPr>
              <a:t>) // x is automatically cast to String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dirty="0">
                <a:latin typeface="Calibri" panose="020F0502020204030204" pitchFamily="34" charset="0"/>
              </a:rPr>
              <a:t>if (x !is String || </a:t>
            </a:r>
            <a:r>
              <a:rPr lang="en-US" sz="1800" dirty="0" err="1">
                <a:latin typeface="Calibri" panose="020F0502020204030204" pitchFamily="34" charset="0"/>
              </a:rPr>
              <a:t>x.length</a:t>
            </a:r>
            <a:r>
              <a:rPr lang="en-US" sz="1800" dirty="0">
                <a:latin typeface="Calibri" panose="020F0502020204030204" pitchFamily="34" charset="0"/>
              </a:rPr>
              <a:t> == 0) return</a:t>
            </a:r>
          </a:p>
          <a:p>
            <a:pPr marL="0" indent="0">
              <a:buNone/>
            </a:pPr>
            <a:endParaRPr lang="en-US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sz="12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sz="1200" dirty="0"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C4DB7F-EAFB-41F6-849D-9F0D53645C99}"/>
              </a:ext>
            </a:extLst>
          </p:cNvPr>
          <p:cNvSpPr txBox="1"/>
          <p:nvPr/>
        </p:nvSpPr>
        <p:spPr>
          <a:xfrm>
            <a:off x="5775291" y="1439920"/>
            <a:ext cx="4322863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if (x is String &amp;&amp; </a:t>
            </a:r>
            <a:r>
              <a:rPr lang="en-US" dirty="0" err="1"/>
              <a:t>x.length</a:t>
            </a:r>
            <a:r>
              <a:rPr lang="en-US" dirty="0"/>
              <a:t> &gt; 0) {</a:t>
            </a:r>
          </a:p>
          <a:p>
            <a:r>
              <a:rPr lang="en-US" dirty="0"/>
              <a:t>    print(</a:t>
            </a:r>
            <a:r>
              <a:rPr lang="en-US" dirty="0" err="1"/>
              <a:t>x.length</a:t>
            </a:r>
            <a:r>
              <a:rPr lang="en-US" dirty="0"/>
              <a:t>) 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when (x)  {</a:t>
            </a:r>
          </a:p>
          <a:p>
            <a:r>
              <a:rPr lang="en-US" dirty="0"/>
              <a:t>    is Int -&gt; print(x + 1)</a:t>
            </a:r>
          </a:p>
          <a:p>
            <a:r>
              <a:rPr lang="en-US" dirty="0"/>
              <a:t>    is String -&gt; print(</a:t>
            </a:r>
            <a:r>
              <a:rPr lang="en-US" dirty="0" err="1"/>
              <a:t>x.length</a:t>
            </a:r>
            <a:r>
              <a:rPr lang="en-US" dirty="0"/>
              <a:t> + 1)</a:t>
            </a:r>
          </a:p>
          <a:p>
            <a:r>
              <a:rPr lang="en-US" dirty="0"/>
              <a:t>    is </a:t>
            </a:r>
            <a:r>
              <a:rPr lang="en-US" dirty="0" err="1"/>
              <a:t>IntArray</a:t>
            </a:r>
            <a:r>
              <a:rPr lang="en-US" dirty="0"/>
              <a:t> -&gt; print(</a:t>
            </a:r>
            <a:r>
              <a:rPr lang="en-US" dirty="0" err="1"/>
              <a:t>x.sum</a:t>
            </a:r>
            <a:r>
              <a:rPr lang="en-US" dirty="0"/>
              <a:t>())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Note that smart casts do not work when the compiler cannot guarantee that the variable cannot change between the check and the usage – e.g. for var properties.</a:t>
            </a:r>
          </a:p>
          <a:p>
            <a:endParaRPr lang="en-US" dirty="0"/>
          </a:p>
          <a:p>
            <a:r>
              <a:rPr lang="en-US" dirty="0"/>
              <a:t>Quiz – can Java compiler do smart casting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643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AC587-AC73-479E-AE13-5C674590D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009651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else Kotlin has that Java does not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012223-038F-4ACD-9B8B-CA7A2CA9A9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Kotlin functions are </a:t>
            </a:r>
            <a:r>
              <a:rPr lang="en-US" sz="1900" i="1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rst-class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values - they can be stored in variables and data structures, passed as arguments to and returned from other </a:t>
            </a:r>
            <a:r>
              <a:rPr lang="en-US" sz="1900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-order functions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. You can operate with functions in any way that is possible for other non-function values. </a:t>
            </a:r>
          </a:p>
          <a:p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line functions</a:t>
            </a:r>
            <a:endParaRPr lang="en-U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extension functions – it seems that everybody except Java has them?! (in Java you can use Lombok’s annotations though). The following adds a swap function to </a:t>
            </a:r>
            <a:r>
              <a:rPr 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MutableList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&lt;Int&gt;:</a:t>
            </a:r>
          </a:p>
          <a:p>
            <a:pPr marL="0" indent="0">
              <a:buNone/>
            </a:pP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	fun </a:t>
            </a:r>
            <a:r>
              <a:rPr 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MutableList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&lt;Int&gt;.swap(index1: Int, index2: Int) {</a:t>
            </a:r>
          </a:p>
          <a:p>
            <a:pPr marL="0" indent="0">
              <a:buNone/>
            </a:pP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   	</a:t>
            </a:r>
            <a:r>
              <a:rPr 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val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tmp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= this[index1] // 'this' corresponds to the list</a:t>
            </a:r>
          </a:p>
          <a:p>
            <a:pPr marL="0" indent="0">
              <a:buNone/>
            </a:pP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   	this[index1] = this[index2]</a:t>
            </a:r>
          </a:p>
          <a:p>
            <a:pPr marL="0" indent="0">
              <a:buNone/>
            </a:pP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   	this[index2] = </a:t>
            </a:r>
            <a:r>
              <a:rPr 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tmp</a:t>
            </a:r>
            <a:endParaRPr lang="en-U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	}</a:t>
            </a:r>
          </a:p>
          <a:p>
            <a:r>
              <a:rPr lang="en-US" altLang="en-US" sz="1900" u="sng" dirty="0"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ing templates</a:t>
            </a:r>
            <a:r>
              <a:rPr lang="en-US" altLang="en-US" sz="1900" u="sng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0" indent="0">
              <a:buNone/>
            </a:pP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val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s = "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abc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"</a:t>
            </a:r>
          </a:p>
          <a:p>
            <a:pPr marL="0" indent="0">
              <a:buNone/>
            </a:pP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println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("$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s.length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is ${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s.length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}") // prints "</a:t>
            </a:r>
            <a:r>
              <a:rPr lang="en-US" altLang="en-US" sz="1900" dirty="0" err="1">
                <a:latin typeface="Calibri" panose="020F0502020204030204" pitchFamily="34" charset="0"/>
                <a:cs typeface="Calibri" panose="020F0502020204030204" pitchFamily="34" charset="0"/>
              </a:rPr>
              <a:t>abc.length</a:t>
            </a:r>
            <a:r>
              <a:rPr lang="en-US" alt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 is 3"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10945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20 Dell Tech templat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163C19A-6F97-46CB-A4DB-209EE5FF66DF}" vid="{2F638D69-5682-46F6-ADFA-49F8A93586E6}"/>
    </a:ext>
  </a:extLst>
</a:theme>
</file>

<file path=ppt/theme/theme3.xml><?xml version="1.0" encoding="utf-8"?>
<a:theme xmlns:a="http://schemas.openxmlformats.org/drawingml/2006/main" name="1_2020 Dell Tech templat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3523D6C1-F522-466D-ACC1-1852BD51FA8B}" vid="{3049F880-B25C-46AA-AE7A-4B082276C19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7</TotalTime>
  <Words>1144</Words>
  <Application>Microsoft Office PowerPoint</Application>
  <PresentationFormat>Widescreen</PresentationFormat>
  <Paragraphs>181</Paragraphs>
  <Slides>17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Calibri Light</vt:lpstr>
      <vt:lpstr>Museo Sans For Dell</vt:lpstr>
      <vt:lpstr>Wingdings</vt:lpstr>
      <vt:lpstr>Office Theme</vt:lpstr>
      <vt:lpstr>2020 Dell Tech template</vt:lpstr>
      <vt:lpstr>1_2020 Dell Tech template</vt:lpstr>
      <vt:lpstr>think-cell Slide</vt:lpstr>
      <vt:lpstr>PowerPoint Presentation</vt:lpstr>
      <vt:lpstr>Meeting agenda:  </vt:lpstr>
      <vt:lpstr>That’s what Wikipedia tells us about Kotlin:</vt:lpstr>
      <vt:lpstr>What does it mean “interoperate fully with Java” ?</vt:lpstr>
      <vt:lpstr>What Java has that Kotlin does not?</vt:lpstr>
      <vt:lpstr>Kotlin provides null safety!</vt:lpstr>
      <vt:lpstr>Kotlin has data classes!</vt:lpstr>
      <vt:lpstr>Kotlin has smart casts!</vt:lpstr>
      <vt:lpstr>What else Kotlin has that Java does not?</vt:lpstr>
      <vt:lpstr>What else Kotlin has that Java does not?</vt:lpstr>
      <vt:lpstr>What does it mean “compiles to Javascript”?</vt:lpstr>
      <vt:lpstr>What does it mean “compiles to native code”?</vt:lpstr>
      <vt:lpstr>How to use Kotlin?</vt:lpstr>
      <vt:lpstr> Multiplatform Library Project:</vt:lpstr>
      <vt:lpstr>Fifteen Puzzle Game </vt:lpstr>
      <vt:lpstr>Most loved languages of 2019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Kotlin and why use it?</dc:title>
  <dc:creator>Agranov, Gennady</dc:creator>
  <cp:lastModifiedBy>Agranov, Gennady</cp:lastModifiedBy>
  <cp:revision>72</cp:revision>
  <dcterms:created xsi:type="dcterms:W3CDTF">2020-05-10T15:38:56Z</dcterms:created>
  <dcterms:modified xsi:type="dcterms:W3CDTF">2020-06-09T20:5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Gennady.Agranov@emc.com</vt:lpwstr>
  </property>
  <property fmtid="{D5CDD505-2E9C-101B-9397-08002B2CF9AE}" pid="5" name="MSIP_Label_17cb76b2-10b8-4fe1-93d4-2202842406cd_SetDate">
    <vt:lpwstr>2020-05-10T15:59:30.6567913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ActionId">
    <vt:lpwstr>170080fc-7251-4af1-b570-27351aa0d5b0</vt:lpwstr>
  </property>
  <property fmtid="{D5CDD505-2E9C-101B-9397-08002B2CF9AE}" pid="9" name="MSIP_Label_17cb76b2-10b8-4fe1-93d4-2202842406cd_Extended_MSFT_Method">
    <vt:lpwstr>Manual</vt:lpwstr>
  </property>
  <property fmtid="{D5CDD505-2E9C-101B-9397-08002B2CF9AE}" pid="10" name="aiplabel">
    <vt:lpwstr>External Public</vt:lpwstr>
  </property>
</Properties>
</file>